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72" r:id="rId4"/>
  </p:sldMasterIdLst>
  <p:notesMasterIdLst>
    <p:notesMasterId r:id="rId7"/>
  </p:notesMasterIdLst>
  <p:handoutMasterIdLst>
    <p:handoutMasterId r:id="rId8"/>
  </p:handoutMasterIdLst>
  <p:sldIdLst>
    <p:sldId id="256" r:id="rId5"/>
    <p:sldId id="275" r:id="rId6"/>
  </p:sldIdLst>
  <p:sldSz cx="12192000" cy="6858000"/>
  <p:notesSz cx="9144000" cy="6858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0" userDrawn="1">
          <p15:clr>
            <a:srgbClr val="A4A3A4"/>
          </p15:clr>
        </p15:guide>
        <p15:guide id="3" orient="horz" pos="2352" userDrawn="1">
          <p15:clr>
            <a:srgbClr val="A4A3A4"/>
          </p15:clr>
        </p15:guide>
        <p15:guide id="4" orient="horz" pos="3795" userDrawn="1">
          <p15:clr>
            <a:srgbClr val="A4A3A4"/>
          </p15:clr>
        </p15:guide>
        <p15:guide id="6" orient="horz" pos="4175" userDrawn="1">
          <p15:clr>
            <a:srgbClr val="A4A3A4"/>
          </p15:clr>
        </p15:guide>
        <p15:guide id="7" pos="293" userDrawn="1">
          <p15:clr>
            <a:srgbClr val="A4A3A4"/>
          </p15:clr>
        </p15:guide>
        <p15:guide id="8" pos="7399" userDrawn="1">
          <p15:clr>
            <a:srgbClr val="A4A3A4"/>
          </p15:clr>
        </p15:guide>
        <p15:guide id="9" pos="1463" userDrawn="1">
          <p15:clr>
            <a:srgbClr val="A4A3A4"/>
          </p15:clr>
        </p15:guide>
        <p15:guide id="10" pos="6193" userDrawn="1">
          <p15:clr>
            <a:srgbClr val="A4A3A4"/>
          </p15:clr>
        </p15:guide>
        <p15:guide id="11" pos="3841" userDrawn="1">
          <p15:clr>
            <a:srgbClr val="A4A3A4"/>
          </p15:clr>
        </p15:guide>
        <p15:guide id="12" pos="2640" userDrawn="1">
          <p15:clr>
            <a:srgbClr val="A4A3A4"/>
          </p15:clr>
        </p15:guide>
        <p15:guide id="13" pos="5016" userDrawn="1">
          <p15:clr>
            <a:srgbClr val="A4A3A4"/>
          </p15:clr>
        </p15:guide>
        <p15:guide id="14" orient="horz" pos="279" userDrawn="1">
          <p15:clr>
            <a:srgbClr val="A4A3A4"/>
          </p15:clr>
        </p15:guide>
        <p15:guide id="15" orient="horz" pos="768" userDrawn="1">
          <p15:clr>
            <a:srgbClr val="A4A3A4"/>
          </p15:clr>
        </p15:guide>
        <p15:guide id="16" orient="horz" pos="4152" userDrawn="1">
          <p15:clr>
            <a:srgbClr val="A4A3A4"/>
          </p15:clr>
        </p15:guide>
        <p15:guide id="17" orient="horz" pos="912" userDrawn="1">
          <p15:clr>
            <a:srgbClr val="A4A3A4"/>
          </p15:clr>
        </p15:guide>
        <p15:guide id="18" orient="horz" pos="3931" userDrawn="1">
          <p15:clr>
            <a:srgbClr val="A4A3A4"/>
          </p15:clr>
        </p15:guide>
        <p15:guide id="19" pos="3792" userDrawn="1">
          <p15:clr>
            <a:srgbClr val="A4A3A4"/>
          </p15:clr>
        </p15:guide>
        <p15:guide id="20" pos="3888" userDrawn="1">
          <p15:clr>
            <a:srgbClr val="A4A3A4"/>
          </p15:clr>
        </p15:guide>
        <p15:guide id="21" orient="horz" pos="2304" userDrawn="1">
          <p15:clr>
            <a:srgbClr val="A4A3A4"/>
          </p15:clr>
        </p15:guide>
        <p15:guide id="22" orient="horz" pos="2400" userDrawn="1">
          <p15:clr>
            <a:srgbClr val="A4A3A4"/>
          </p15:clr>
        </p15:guide>
        <p15:guide id="23" orient="horz" pos="286" userDrawn="1">
          <p15:clr>
            <a:srgbClr val="A4A3A4"/>
          </p15:clr>
        </p15:guide>
        <p15:guide id="24" orient="horz" pos="285" userDrawn="1">
          <p15:clr>
            <a:srgbClr val="A4A3A4"/>
          </p15:clr>
        </p15:guide>
        <p15:guide id="25" orient="horz" pos="401" userDrawn="1">
          <p15:clr>
            <a:srgbClr val="A4A3A4"/>
          </p15:clr>
        </p15:guide>
        <p15:guide id="26" orient="horz" pos="1039" userDrawn="1">
          <p15:clr>
            <a:srgbClr val="A4A3A4"/>
          </p15:clr>
        </p15:guide>
        <p15:guide id="27" pos="343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ilkins, Kathleen R" initials="FKR" lastIdx="3" clrIdx="0">
    <p:extLst>
      <p:ext uri="{19B8F6BF-5375-455C-9EA6-DF929625EA0E}">
        <p15:presenceInfo xmlns:p15="http://schemas.microsoft.com/office/powerpoint/2012/main" userId="S::FilkinsK@aetna.com::181353d5-bf34-4dfc-b53c-88ff1d98362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4848"/>
    <a:srgbClr val="7F7F7F"/>
    <a:srgbClr val="F2F2F2"/>
    <a:srgbClr val="D9D9D9"/>
    <a:srgbClr val="F7F7F7"/>
    <a:srgbClr val="00859B"/>
    <a:srgbClr val="EFE411"/>
    <a:srgbClr val="D20962"/>
    <a:srgbClr val="B2DAE1"/>
    <a:srgbClr val="E5B2C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6810207-2861-D2D5-A976-127B83A94E25}" v="4" dt="2020-11-23T15:49:32.86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203" autoAdjust="0"/>
    <p:restoredTop sz="95332" autoAdjust="0"/>
  </p:normalViewPr>
  <p:slideViewPr>
    <p:cSldViewPr snapToGrid="0">
      <p:cViewPr>
        <p:scale>
          <a:sx n="100" d="100"/>
          <a:sy n="100" d="100"/>
        </p:scale>
        <p:origin x="258" y="396"/>
      </p:cViewPr>
      <p:guideLst>
        <p:guide orient="horz" pos="280"/>
        <p:guide orient="horz" pos="2352"/>
        <p:guide orient="horz" pos="3795"/>
        <p:guide orient="horz" pos="4175"/>
        <p:guide pos="293"/>
        <p:guide pos="7399"/>
        <p:guide pos="1463"/>
        <p:guide pos="6193"/>
        <p:guide pos="3841"/>
        <p:guide pos="2640"/>
        <p:guide pos="5016"/>
        <p:guide orient="horz" pos="279"/>
        <p:guide orient="horz" pos="768"/>
        <p:guide orient="horz" pos="4152"/>
        <p:guide orient="horz" pos="912"/>
        <p:guide orient="horz" pos="3931"/>
        <p:guide pos="3792"/>
        <p:guide pos="3888"/>
        <p:guide orient="horz" pos="2304"/>
        <p:guide orient="horz" pos="2400"/>
        <p:guide orient="horz" pos="286"/>
        <p:guide orient="horz" pos="285"/>
        <p:guide orient="horz" pos="401"/>
        <p:guide orient="horz" pos="1039"/>
        <p:guide pos="343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2040" y="77"/>
      </p:cViewPr>
      <p:guideLst>
        <p:guide orient="horz" pos="2160"/>
        <p:guide pos="288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erez Diaz, Karen" userId="S::perezdiazk@aetna.com::17027623-4de6-4c48-9453-394c2c5804f8" providerId="AD" clId="Web-{26810207-2861-D2D5-A976-127B83A94E25}"/>
    <pc:docChg chg="addSld delSld">
      <pc:chgData name="Perez Diaz, Karen" userId="S::perezdiazk@aetna.com::17027623-4de6-4c48-9453-394c2c5804f8" providerId="AD" clId="Web-{26810207-2861-D2D5-A976-127B83A94E25}" dt="2020-11-23T15:49:32.866" v="3"/>
      <pc:docMkLst>
        <pc:docMk/>
      </pc:docMkLst>
      <pc:sldChg chg="new del">
        <pc:chgData name="Perez Diaz, Karen" userId="S::perezdiazk@aetna.com::17027623-4de6-4c48-9453-394c2c5804f8" providerId="AD" clId="Web-{26810207-2861-D2D5-A976-127B83A94E25}" dt="2020-11-23T15:49:31.632" v="2"/>
        <pc:sldMkLst>
          <pc:docMk/>
          <pc:sldMk cId="4087453438" sldId="276"/>
        </pc:sldMkLst>
      </pc:sldChg>
      <pc:sldChg chg="new del">
        <pc:chgData name="Perez Diaz, Karen" userId="S::perezdiazk@aetna.com::17027623-4de6-4c48-9453-394c2c5804f8" providerId="AD" clId="Web-{26810207-2861-D2D5-A976-127B83A94E25}" dt="2020-11-23T15:49:32.866" v="3"/>
        <pc:sldMkLst>
          <pc:docMk/>
          <pc:sldMk cId="2118312597" sldId="277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541AEF-3112-6549-914A-E0D9B60F40EA}" type="datetimeFigureOut">
              <a:rPr lang="en-US" sz="1000" smtClean="0">
                <a:latin typeface="Open Sans Light"/>
                <a:cs typeface="Open Sans Light"/>
              </a:rPr>
              <a:t>11/23/2020</a:t>
            </a:fld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293638-C25A-9844-8D5B-B0309EC5F961}" type="slidenum">
              <a:rPr lang="en-US" sz="1000" smtClean="0">
                <a:latin typeface="Open Sans Light"/>
                <a:cs typeface="Open Sans Light"/>
              </a:rPr>
              <a:t>‹#›</a:t>
            </a:fld>
            <a:endParaRPr lang="en-US" sz="1000" dirty="0">
              <a:latin typeface="Open Sans Light"/>
              <a:cs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34768346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EC2C7003-A6A9-A249-88AD-8CFDA7DED64B}" type="datetimeFigureOut">
              <a:rPr lang="en-US" smtClean="0"/>
              <a:pPr/>
              <a:t>11/23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50AD15A5-6128-B84F-818D-8AA5BDD9AF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2699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71239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96772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8327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8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spect="1"/>
          </p:cNvSpPr>
          <p:nvPr/>
        </p:nvSpPr>
        <p:spPr>
          <a:xfrm>
            <a:off x="7751366" y="0"/>
            <a:ext cx="444063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9890" y="0"/>
            <a:ext cx="12147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4187" y="5051932"/>
            <a:ext cx="2121961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8427" y="5460984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 Name</a:t>
            </a:r>
            <a:endParaRPr lang="tr-TR" dirty="0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960" y="640080"/>
            <a:ext cx="5585018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960" y="3383280"/>
            <a:ext cx="5578857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ond Level Title</a:t>
            </a:r>
            <a:endParaRPr lang="tr-TR" dirty="0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8427" y="5892928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8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tr-TR" dirty="0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51365" y="1"/>
            <a:ext cx="4440635" cy="338328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7749346" y="3375049"/>
            <a:ext cx="4442654" cy="11887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2900" y="5931510"/>
            <a:ext cx="2192529" cy="292877"/>
            <a:chOff x="279400" y="2781300"/>
            <a:chExt cx="8585200" cy="1092200"/>
          </a:xfrm>
        </p:grpSpPr>
        <p:sp>
          <p:nvSpPr>
            <p:cNvPr id="33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4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5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6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7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Righ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02965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54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8351520" y="1554481"/>
            <a:ext cx="384048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Content Placeholder 8"/>
          <p:cNvSpPr txBox="1">
            <a:spLocks/>
          </p:cNvSpPr>
          <p:nvPr userDrawn="1"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 userDrawn="1"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Rectangle 24"/>
          <p:cNvSpPr/>
          <p:nvPr userDrawn="1"/>
        </p:nvSpPr>
        <p:spPr>
          <a:xfrm>
            <a:off x="8260080" y="1554479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2011680"/>
            <a:ext cx="7406640" cy="416200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sion to actio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84445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78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/>
          <p:cNvSpPr/>
          <p:nvPr userDrawn="1"/>
        </p:nvSpPr>
        <p:spPr>
          <a:xfrm>
            <a:off x="0" y="4732020"/>
            <a:ext cx="12192000" cy="2125980"/>
          </a:xfrm>
          <a:prstGeom prst="rect">
            <a:avLst/>
          </a:prstGeom>
          <a:gradFill flip="none" rotWithShape="1">
            <a:gsLst>
              <a:gs pos="67000">
                <a:schemeClr val="bg1"/>
              </a:gs>
              <a:gs pos="100000">
                <a:schemeClr val="bg1"/>
              </a:gs>
              <a:gs pos="55000">
                <a:schemeClr val="accent2"/>
              </a:gs>
              <a:gs pos="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1589" y="0"/>
            <a:ext cx="12188825" cy="47320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8" y="0"/>
            <a:ext cx="6126479" cy="4732020"/>
          </a:xfrm>
          <a:prstGeom prst="rect">
            <a:avLst/>
          </a:prstGeom>
        </p:spPr>
      </p:pic>
      <p:sp>
        <p:nvSpPr>
          <p:cNvPr id="30" name="Rectangle 29"/>
          <p:cNvSpPr/>
          <p:nvPr userDrawn="1"/>
        </p:nvSpPr>
        <p:spPr>
          <a:xfrm flipH="1">
            <a:off x="6015106" y="1"/>
            <a:ext cx="665217" cy="47320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itle 2"/>
          <p:cNvSpPr txBox="1">
            <a:spLocks/>
          </p:cNvSpPr>
          <p:nvPr userDrawn="1"/>
        </p:nvSpPr>
        <p:spPr>
          <a:xfrm>
            <a:off x="7901547" y="3658243"/>
            <a:ext cx="3949108" cy="72713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accent2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5400" b="1" dirty="0">
                <a:solidFill>
                  <a:srgbClr val="00859B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into action.</a:t>
            </a:r>
          </a:p>
        </p:txBody>
      </p:sp>
      <p:sp>
        <p:nvSpPr>
          <p:cNvPr id="32" name="Title 1"/>
          <p:cNvSpPr txBox="1">
            <a:spLocks/>
          </p:cNvSpPr>
          <p:nvPr userDrawn="1"/>
        </p:nvSpPr>
        <p:spPr>
          <a:xfrm>
            <a:off x="5061285" y="2489624"/>
            <a:ext cx="5205181" cy="177082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7200" b="0" i="0" kern="1200">
                <a:solidFill>
                  <a:schemeClr val="bg1"/>
                </a:solidFill>
                <a:latin typeface="Domaine Display Bold" panose="020A0803080505060203" pitchFamily="18" charset="0"/>
                <a:ea typeface="Open Sans" panose="020B0606030504020204" pitchFamily="34" charset="0"/>
                <a:cs typeface="Domaine Display Bold" panose="020A0803080505060203" pitchFamily="18" charset="0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5400" b="1" dirty="0">
                <a:solidFill>
                  <a:schemeClr val="accent2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Turning vision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54511" y="5940719"/>
            <a:ext cx="3097787" cy="413801"/>
            <a:chOff x="279400" y="2781300"/>
            <a:chExt cx="8585200" cy="1092200"/>
          </a:xfrm>
        </p:grpSpPr>
        <p:sp>
          <p:nvSpPr>
            <p:cNvPr id="34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4" y="2816225"/>
              <a:ext cx="1014412" cy="1023939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4" name="Group 43"/>
          <p:cNvGrpSpPr/>
          <p:nvPr userDrawn="1"/>
        </p:nvGrpSpPr>
        <p:grpSpPr>
          <a:xfrm>
            <a:off x="504316" y="5402513"/>
            <a:ext cx="1930419" cy="1067172"/>
            <a:chOff x="7526204" y="2289887"/>
            <a:chExt cx="3108960" cy="1718692"/>
          </a:xfrm>
        </p:grpSpPr>
        <p:grpSp>
          <p:nvGrpSpPr>
            <p:cNvPr id="45" name="Group 44"/>
            <p:cNvGrpSpPr>
              <a:grpSpLocks noChangeAspect="1"/>
            </p:cNvGrpSpPr>
            <p:nvPr/>
          </p:nvGrpSpPr>
          <p:grpSpPr>
            <a:xfrm>
              <a:off x="8070916" y="2865025"/>
              <a:ext cx="2148840" cy="827025"/>
              <a:chOff x="-2522495" y="1678245"/>
              <a:chExt cx="2126771" cy="818532"/>
            </a:xfrm>
          </p:grpSpPr>
          <p:sp>
            <p:nvSpPr>
              <p:cNvPr id="47" name="TextBox 46"/>
              <p:cNvSpPr txBox="1">
                <a:spLocks/>
              </p:cNvSpPr>
              <p:nvPr/>
            </p:nvSpPr>
            <p:spPr>
              <a:xfrm>
                <a:off x="-2130523" y="1678245"/>
                <a:ext cx="486642" cy="382152"/>
              </a:xfrm>
              <a:custGeom>
                <a:avLst/>
                <a:gdLst/>
                <a:ahLst/>
                <a:cxnLst/>
                <a:rect l="l" t="t" r="r" b="b"/>
                <a:pathLst>
                  <a:path w="486642" h="382152">
                    <a:moveTo>
                      <a:pt x="150943" y="0"/>
                    </a:moveTo>
                    <a:cubicBezTo>
                      <a:pt x="191582" y="0"/>
                      <a:pt x="224490" y="12368"/>
                      <a:pt x="232082" y="39810"/>
                    </a:cubicBezTo>
                    <a:lnTo>
                      <a:pt x="232262" y="41192"/>
                    </a:lnTo>
                    <a:lnTo>
                      <a:pt x="244394" y="27828"/>
                    </a:lnTo>
                    <a:cubicBezTo>
                      <a:pt x="265912" y="9086"/>
                      <a:pt x="296328" y="0"/>
                      <a:pt x="331918" y="0"/>
                    </a:cubicBezTo>
                    <a:cubicBezTo>
                      <a:pt x="355140" y="0"/>
                      <a:pt x="375838" y="4038"/>
                      <a:pt x="390730" y="12620"/>
                    </a:cubicBezTo>
                    <a:lnTo>
                      <a:pt x="399550" y="19037"/>
                    </a:lnTo>
                    <a:lnTo>
                      <a:pt x="415123" y="9213"/>
                    </a:lnTo>
                    <a:cubicBezTo>
                      <a:pt x="421204" y="6846"/>
                      <a:pt x="427956" y="5553"/>
                      <a:pt x="435150" y="5553"/>
                    </a:cubicBezTo>
                    <a:cubicBezTo>
                      <a:pt x="464430" y="5553"/>
                      <a:pt x="486642" y="26250"/>
                      <a:pt x="486642" y="53511"/>
                    </a:cubicBezTo>
                    <a:cubicBezTo>
                      <a:pt x="486642" y="80772"/>
                      <a:pt x="464430" y="101974"/>
                      <a:pt x="435150" y="101974"/>
                    </a:cubicBezTo>
                    <a:cubicBezTo>
                      <a:pt x="420763" y="101974"/>
                      <a:pt x="408142" y="96674"/>
                      <a:pt x="399118" y="87965"/>
                    </a:cubicBezTo>
                    <a:lnTo>
                      <a:pt x="397141" y="85099"/>
                    </a:lnTo>
                    <a:lnTo>
                      <a:pt x="387023" y="90979"/>
                    </a:lnTo>
                    <a:cubicBezTo>
                      <a:pt x="381675" y="92887"/>
                      <a:pt x="375838" y="93897"/>
                      <a:pt x="369780" y="93897"/>
                    </a:cubicBezTo>
                    <a:cubicBezTo>
                      <a:pt x="355140" y="93897"/>
                      <a:pt x="342015" y="89354"/>
                      <a:pt x="335452" y="81781"/>
                    </a:cubicBezTo>
                    <a:cubicBezTo>
                      <a:pt x="350092" y="78247"/>
                      <a:pt x="359179" y="66132"/>
                      <a:pt x="359179" y="42910"/>
                    </a:cubicBezTo>
                    <a:cubicBezTo>
                      <a:pt x="359179" y="22717"/>
                      <a:pt x="350597" y="8077"/>
                      <a:pt x="331918" y="8077"/>
                    </a:cubicBezTo>
                    <a:cubicBezTo>
                      <a:pt x="308696" y="8077"/>
                      <a:pt x="300619" y="29784"/>
                      <a:pt x="300619" y="58054"/>
                    </a:cubicBezTo>
                    <a:lnTo>
                      <a:pt x="300619" y="132264"/>
                    </a:lnTo>
                    <a:lnTo>
                      <a:pt x="363217" y="132264"/>
                    </a:lnTo>
                    <a:lnTo>
                      <a:pt x="360693" y="144884"/>
                    </a:lnTo>
                    <a:lnTo>
                      <a:pt x="300619" y="144884"/>
                    </a:lnTo>
                    <a:lnTo>
                      <a:pt x="300619" y="327126"/>
                    </a:lnTo>
                    <a:cubicBezTo>
                      <a:pt x="300619" y="360445"/>
                      <a:pt x="312230" y="369027"/>
                      <a:pt x="339490" y="381142"/>
                    </a:cubicBezTo>
                    <a:lnTo>
                      <a:pt x="339490" y="382152"/>
                    </a:lnTo>
                    <a:lnTo>
                      <a:pt x="186529" y="382152"/>
                    </a:lnTo>
                    <a:lnTo>
                      <a:pt x="186529" y="381142"/>
                    </a:lnTo>
                    <a:cubicBezTo>
                      <a:pt x="208741" y="367007"/>
                      <a:pt x="210255" y="360445"/>
                      <a:pt x="210255" y="327126"/>
                    </a:cubicBezTo>
                    <a:lnTo>
                      <a:pt x="210255" y="144884"/>
                    </a:lnTo>
                    <a:lnTo>
                      <a:pt x="180976" y="144884"/>
                    </a:lnTo>
                    <a:lnTo>
                      <a:pt x="180976" y="139331"/>
                    </a:lnTo>
                    <a:lnTo>
                      <a:pt x="210255" y="128225"/>
                    </a:lnTo>
                    <a:lnTo>
                      <a:pt x="210255" y="113585"/>
                    </a:lnTo>
                    <a:lnTo>
                      <a:pt x="212504" y="87227"/>
                    </a:lnTo>
                    <a:lnTo>
                      <a:pt x="206048" y="90979"/>
                    </a:lnTo>
                    <a:cubicBezTo>
                      <a:pt x="200700" y="92887"/>
                      <a:pt x="194863" y="93897"/>
                      <a:pt x="188805" y="93897"/>
                    </a:cubicBezTo>
                    <a:cubicBezTo>
                      <a:pt x="174165" y="93897"/>
                      <a:pt x="161040" y="89354"/>
                      <a:pt x="154477" y="81781"/>
                    </a:cubicBezTo>
                    <a:cubicBezTo>
                      <a:pt x="169117" y="78247"/>
                      <a:pt x="178204" y="66132"/>
                      <a:pt x="178204" y="42910"/>
                    </a:cubicBezTo>
                    <a:cubicBezTo>
                      <a:pt x="178204" y="22717"/>
                      <a:pt x="169622" y="8077"/>
                      <a:pt x="150943" y="8077"/>
                    </a:cubicBezTo>
                    <a:cubicBezTo>
                      <a:pt x="127721" y="8077"/>
                      <a:pt x="119644" y="29784"/>
                      <a:pt x="119644" y="58054"/>
                    </a:cubicBezTo>
                    <a:lnTo>
                      <a:pt x="119644" y="132264"/>
                    </a:lnTo>
                    <a:lnTo>
                      <a:pt x="182242" y="132264"/>
                    </a:lnTo>
                    <a:lnTo>
                      <a:pt x="179718" y="144884"/>
                    </a:lnTo>
                    <a:lnTo>
                      <a:pt x="119644" y="144884"/>
                    </a:lnTo>
                    <a:lnTo>
                      <a:pt x="119644" y="327126"/>
                    </a:lnTo>
                    <a:cubicBezTo>
                      <a:pt x="119644" y="360445"/>
                      <a:pt x="131255" y="369027"/>
                      <a:pt x="158516" y="381142"/>
                    </a:cubicBezTo>
                    <a:lnTo>
                      <a:pt x="158516" y="382152"/>
                    </a:lnTo>
                    <a:lnTo>
                      <a:pt x="5554" y="382152"/>
                    </a:lnTo>
                    <a:lnTo>
                      <a:pt x="5554" y="381142"/>
                    </a:lnTo>
                    <a:cubicBezTo>
                      <a:pt x="27766" y="367007"/>
                      <a:pt x="29280" y="360445"/>
                      <a:pt x="29280" y="327126"/>
                    </a:cubicBezTo>
                    <a:lnTo>
                      <a:pt x="29280" y="144884"/>
                    </a:lnTo>
                    <a:lnTo>
                      <a:pt x="0" y="144884"/>
                    </a:lnTo>
                    <a:lnTo>
                      <a:pt x="0" y="139331"/>
                    </a:lnTo>
                    <a:lnTo>
                      <a:pt x="29280" y="128225"/>
                    </a:lnTo>
                    <a:lnTo>
                      <a:pt x="29280" y="113585"/>
                    </a:lnTo>
                    <a:cubicBezTo>
                      <a:pt x="29280" y="36347"/>
                      <a:pt x="79763" y="0"/>
                      <a:pt x="15094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8" name="TextBox 47"/>
              <p:cNvSpPr txBox="1">
                <a:spLocks/>
              </p:cNvSpPr>
              <p:nvPr/>
            </p:nvSpPr>
            <p:spPr>
              <a:xfrm>
                <a:off x="-2522495" y="1701971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9" name="TextBox 48"/>
              <p:cNvSpPr txBox="1">
                <a:spLocks/>
              </p:cNvSpPr>
              <p:nvPr/>
            </p:nvSpPr>
            <p:spPr>
              <a:xfrm>
                <a:off x="-1602104" y="1805461"/>
                <a:ext cx="245345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45345" h="259984">
                    <a:moveTo>
                      <a:pt x="144885" y="0"/>
                    </a:moveTo>
                    <a:cubicBezTo>
                      <a:pt x="199406" y="0"/>
                      <a:pt x="240297" y="23726"/>
                      <a:pt x="240297" y="65122"/>
                    </a:cubicBezTo>
                    <a:cubicBezTo>
                      <a:pt x="240297" y="95411"/>
                      <a:pt x="217075" y="111061"/>
                      <a:pt x="192843" y="111061"/>
                    </a:cubicBezTo>
                    <a:cubicBezTo>
                      <a:pt x="166087" y="111061"/>
                      <a:pt x="150438" y="96421"/>
                      <a:pt x="148923" y="81781"/>
                    </a:cubicBezTo>
                    <a:cubicBezTo>
                      <a:pt x="151952" y="82791"/>
                      <a:pt x="155486" y="83296"/>
                      <a:pt x="158010" y="83296"/>
                    </a:cubicBezTo>
                    <a:cubicBezTo>
                      <a:pt x="176689" y="83296"/>
                      <a:pt x="184261" y="67646"/>
                      <a:pt x="184261" y="48463"/>
                    </a:cubicBezTo>
                    <a:cubicBezTo>
                      <a:pt x="184261" y="24231"/>
                      <a:pt x="171136" y="8582"/>
                      <a:pt x="145894" y="8582"/>
                    </a:cubicBezTo>
                    <a:cubicBezTo>
                      <a:pt x="110557" y="8582"/>
                      <a:pt x="93897" y="54016"/>
                      <a:pt x="93897" y="112575"/>
                    </a:cubicBezTo>
                    <a:cubicBezTo>
                      <a:pt x="93897" y="181737"/>
                      <a:pt x="124692" y="218589"/>
                      <a:pt x="171640" y="218589"/>
                    </a:cubicBezTo>
                    <a:cubicBezTo>
                      <a:pt x="200415" y="218589"/>
                      <a:pt x="226666" y="204958"/>
                      <a:pt x="242316" y="173659"/>
                    </a:cubicBezTo>
                    <a:lnTo>
                      <a:pt x="245345" y="175174"/>
                    </a:lnTo>
                    <a:cubicBezTo>
                      <a:pt x="231210" y="229190"/>
                      <a:pt x="185775" y="259984"/>
                      <a:pt x="129740" y="259984"/>
                    </a:cubicBezTo>
                    <a:cubicBezTo>
                      <a:pt x="60074" y="259984"/>
                      <a:pt x="0" y="213036"/>
                      <a:pt x="0" y="134788"/>
                    </a:cubicBezTo>
                    <a:cubicBezTo>
                      <a:pt x="0" y="49977"/>
                      <a:pt x="63608" y="0"/>
                      <a:pt x="14488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" name="TextBox 49"/>
              <p:cNvSpPr txBox="1">
                <a:spLocks/>
              </p:cNvSpPr>
              <p:nvPr/>
            </p:nvSpPr>
            <p:spPr>
              <a:xfrm>
                <a:off x="-1335404" y="1805461"/>
                <a:ext cx="251908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51908" h="259984">
                    <a:moveTo>
                      <a:pt x="132264" y="0"/>
                    </a:moveTo>
                    <a:cubicBezTo>
                      <a:pt x="213541" y="0"/>
                      <a:pt x="251908" y="51996"/>
                      <a:pt x="251908" y="118633"/>
                    </a:cubicBezTo>
                    <a:lnTo>
                      <a:pt x="91373" y="118633"/>
                    </a:lnTo>
                    <a:cubicBezTo>
                      <a:pt x="91373" y="181232"/>
                      <a:pt x="124187" y="218589"/>
                      <a:pt x="172650" y="218589"/>
                    </a:cubicBezTo>
                    <a:cubicBezTo>
                      <a:pt x="203444" y="218589"/>
                      <a:pt x="230200" y="204958"/>
                      <a:pt x="245850" y="173659"/>
                    </a:cubicBezTo>
                    <a:lnTo>
                      <a:pt x="249383" y="175174"/>
                    </a:lnTo>
                    <a:cubicBezTo>
                      <a:pt x="234744" y="229190"/>
                      <a:pt x="189309" y="259984"/>
                      <a:pt x="131759" y="259984"/>
                    </a:cubicBezTo>
                    <a:cubicBezTo>
                      <a:pt x="59569" y="259984"/>
                      <a:pt x="0" y="212531"/>
                      <a:pt x="0" y="130244"/>
                    </a:cubicBezTo>
                    <a:cubicBezTo>
                      <a:pt x="0" y="50987"/>
                      <a:pt x="60074" y="0"/>
                      <a:pt x="132264" y="0"/>
                    </a:cubicBezTo>
                    <a:close/>
                    <a:moveTo>
                      <a:pt x="132264" y="8582"/>
                    </a:moveTo>
                    <a:cubicBezTo>
                      <a:pt x="106013" y="8582"/>
                      <a:pt x="92888" y="48463"/>
                      <a:pt x="91878" y="108032"/>
                    </a:cubicBezTo>
                    <a:lnTo>
                      <a:pt x="165078" y="108032"/>
                    </a:lnTo>
                    <a:cubicBezTo>
                      <a:pt x="165078" y="51492"/>
                      <a:pt x="161039" y="8582"/>
                      <a:pt x="132264" y="85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1" name="TextBox 50"/>
              <p:cNvSpPr txBox="1">
                <a:spLocks/>
              </p:cNvSpPr>
              <p:nvPr/>
            </p:nvSpPr>
            <p:spPr>
              <a:xfrm>
                <a:off x="-1766048" y="1810509"/>
                <a:ext cx="140846" cy="249888"/>
              </a:xfrm>
              <a:custGeom>
                <a:avLst/>
                <a:gdLst/>
                <a:ahLst/>
                <a:cxnLst/>
                <a:rect l="l" t="t" r="r" b="b"/>
                <a:pathLst>
                  <a:path w="140846" h="249888">
                    <a:moveTo>
                      <a:pt x="0" y="0"/>
                    </a:moveTo>
                    <a:lnTo>
                      <a:pt x="117119" y="0"/>
                    </a:lnTo>
                    <a:lnTo>
                      <a:pt x="117119" y="194862"/>
                    </a:lnTo>
                    <a:cubicBezTo>
                      <a:pt x="117119" y="228181"/>
                      <a:pt x="118633" y="234743"/>
                      <a:pt x="140846" y="248878"/>
                    </a:cubicBezTo>
                    <a:lnTo>
                      <a:pt x="140846" y="249888"/>
                    </a:lnTo>
                    <a:lnTo>
                      <a:pt x="3029" y="249888"/>
                    </a:lnTo>
                    <a:lnTo>
                      <a:pt x="3029" y="248878"/>
                    </a:lnTo>
                    <a:cubicBezTo>
                      <a:pt x="25241" y="234743"/>
                      <a:pt x="26755" y="228181"/>
                      <a:pt x="26755" y="194862"/>
                    </a:cubicBezTo>
                    <a:lnTo>
                      <a:pt x="26755" y="56035"/>
                    </a:lnTo>
                    <a:cubicBezTo>
                      <a:pt x="26755" y="21707"/>
                      <a:pt x="23726" y="14640"/>
                      <a:pt x="0" y="100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2" name="TextBox 51"/>
              <p:cNvSpPr txBox="1">
                <a:spLocks/>
              </p:cNvSpPr>
              <p:nvPr/>
            </p:nvSpPr>
            <p:spPr>
              <a:xfrm>
                <a:off x="-1501643" y="2133303"/>
                <a:ext cx="323593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23593" h="363474">
                    <a:moveTo>
                      <a:pt x="190319" y="0"/>
                    </a:moveTo>
                    <a:cubicBezTo>
                      <a:pt x="236258" y="0"/>
                      <a:pt x="260994" y="15145"/>
                      <a:pt x="277653" y="15145"/>
                    </a:cubicBezTo>
                    <a:cubicBezTo>
                      <a:pt x="291284" y="15145"/>
                      <a:pt x="299866" y="9087"/>
                      <a:pt x="310467" y="0"/>
                    </a:cubicBezTo>
                    <a:lnTo>
                      <a:pt x="314001" y="120149"/>
                    </a:lnTo>
                    <a:lnTo>
                      <a:pt x="312991" y="120149"/>
                    </a:lnTo>
                    <a:cubicBezTo>
                      <a:pt x="287750" y="56541"/>
                      <a:pt x="250393" y="11107"/>
                      <a:pt x="199910" y="11107"/>
                    </a:cubicBezTo>
                    <a:cubicBezTo>
                      <a:pt x="137312" y="11107"/>
                      <a:pt x="101974" y="80268"/>
                      <a:pt x="101974" y="164573"/>
                    </a:cubicBezTo>
                    <a:cubicBezTo>
                      <a:pt x="101974" y="260490"/>
                      <a:pt x="155486" y="315011"/>
                      <a:pt x="221113" y="315011"/>
                    </a:cubicBezTo>
                    <a:cubicBezTo>
                      <a:pt x="263014" y="315011"/>
                      <a:pt x="297846" y="300371"/>
                      <a:pt x="320564" y="252918"/>
                    </a:cubicBezTo>
                    <a:lnTo>
                      <a:pt x="323593" y="253927"/>
                    </a:lnTo>
                    <a:cubicBezTo>
                      <a:pt x="306428" y="321574"/>
                      <a:pt x="252412" y="363474"/>
                      <a:pt x="173660" y="363474"/>
                    </a:cubicBezTo>
                    <a:cubicBezTo>
                      <a:pt x="74209" y="363474"/>
                      <a:pt x="0" y="293304"/>
                      <a:pt x="0" y="186786"/>
                    </a:cubicBezTo>
                    <a:cubicBezTo>
                      <a:pt x="0" y="76229"/>
                      <a:pt x="85820" y="0"/>
                      <a:pt x="19031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3" name="TextBox 52"/>
              <p:cNvSpPr txBox="1">
                <a:spLocks/>
              </p:cNvSpPr>
              <p:nvPr/>
            </p:nvSpPr>
            <p:spPr>
              <a:xfrm>
                <a:off x="-758693" y="2133303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4" name="TextBox 53"/>
              <p:cNvSpPr txBox="1">
                <a:spLocks/>
              </p:cNvSpPr>
              <p:nvPr/>
            </p:nvSpPr>
            <p:spPr>
              <a:xfrm>
                <a:off x="-1156286" y="2133808"/>
                <a:ext cx="373571" cy="357921"/>
              </a:xfrm>
              <a:custGeom>
                <a:avLst/>
                <a:gdLst/>
                <a:ahLst/>
                <a:cxnLst/>
                <a:rect l="l" t="t" r="r" b="b"/>
                <a:pathLst>
                  <a:path w="373571" h="357921">
                    <a:moveTo>
                      <a:pt x="17164" y="0"/>
                    </a:moveTo>
                    <a:cubicBezTo>
                      <a:pt x="24232" y="3534"/>
                      <a:pt x="35338" y="4544"/>
                      <a:pt x="52502" y="4544"/>
                    </a:cubicBezTo>
                    <a:lnTo>
                      <a:pt x="321069" y="4544"/>
                    </a:lnTo>
                    <a:cubicBezTo>
                      <a:pt x="338233" y="4544"/>
                      <a:pt x="349339" y="3534"/>
                      <a:pt x="356407" y="0"/>
                    </a:cubicBezTo>
                    <a:lnTo>
                      <a:pt x="373571" y="119644"/>
                    </a:lnTo>
                    <a:lnTo>
                      <a:pt x="372561" y="119644"/>
                    </a:lnTo>
                    <a:cubicBezTo>
                      <a:pt x="329651" y="50988"/>
                      <a:pt x="309963" y="17669"/>
                      <a:pt x="255946" y="17669"/>
                    </a:cubicBezTo>
                    <a:lnTo>
                      <a:pt x="234239" y="17669"/>
                    </a:lnTo>
                    <a:lnTo>
                      <a:pt x="234239" y="297847"/>
                    </a:lnTo>
                    <a:cubicBezTo>
                      <a:pt x="234239" y="331165"/>
                      <a:pt x="240802" y="342272"/>
                      <a:pt x="263014" y="356912"/>
                    </a:cubicBezTo>
                    <a:lnTo>
                      <a:pt x="263014" y="357921"/>
                    </a:lnTo>
                    <a:lnTo>
                      <a:pt x="110557" y="357921"/>
                    </a:lnTo>
                    <a:lnTo>
                      <a:pt x="110557" y="356912"/>
                    </a:lnTo>
                    <a:cubicBezTo>
                      <a:pt x="133274" y="342272"/>
                      <a:pt x="139332" y="331165"/>
                      <a:pt x="139332" y="297847"/>
                    </a:cubicBezTo>
                    <a:lnTo>
                      <a:pt x="139332" y="17669"/>
                    </a:lnTo>
                    <a:lnTo>
                      <a:pt x="117624" y="17669"/>
                    </a:lnTo>
                    <a:cubicBezTo>
                      <a:pt x="63608" y="17669"/>
                      <a:pt x="43920" y="50988"/>
                      <a:pt x="1010" y="119644"/>
                    </a:cubicBezTo>
                    <a:lnTo>
                      <a:pt x="0" y="119644"/>
                    </a:lnTo>
                    <a:lnTo>
                      <a:pt x="17164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5" name="TextBox 54"/>
              <p:cNvSpPr txBox="1">
                <a:spLocks/>
              </p:cNvSpPr>
              <p:nvPr/>
            </p:nvSpPr>
            <p:spPr>
              <a:xfrm>
                <a:off x="-2145704" y="2148039"/>
                <a:ext cx="130738" cy="132991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6" name="TextBox 55"/>
              <p:cNvSpPr txBox="1">
                <a:spLocks/>
              </p:cNvSpPr>
              <p:nvPr/>
            </p:nvSpPr>
            <p:spPr>
              <a:xfrm>
                <a:off x="-1995442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7" name="TextBox 56"/>
              <p:cNvSpPr txBox="1">
                <a:spLocks/>
              </p:cNvSpPr>
              <p:nvPr/>
            </p:nvSpPr>
            <p:spPr>
              <a:xfrm>
                <a:off x="-1879880" y="2150070"/>
                <a:ext cx="106535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8" name="TextBox 57"/>
              <p:cNvSpPr txBox="1">
                <a:spLocks/>
              </p:cNvSpPr>
              <p:nvPr/>
            </p:nvSpPr>
            <p:spPr>
              <a:xfrm>
                <a:off x="-1757317" y="2150070"/>
                <a:ext cx="107896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9" name="TextBox 58"/>
              <p:cNvSpPr txBox="1">
                <a:spLocks/>
              </p:cNvSpPr>
              <p:nvPr/>
            </p:nvSpPr>
            <p:spPr>
              <a:xfrm>
                <a:off x="-1623967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6" name="Freeform 45"/>
            <p:cNvSpPr>
              <a:spLocks noEditPoints="1"/>
            </p:cNvSpPr>
            <p:nvPr/>
          </p:nvSpPr>
          <p:spPr bwMode="auto">
            <a:xfrm>
              <a:off x="7526204" y="2289887"/>
              <a:ext cx="3108960" cy="171869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0" name="Rectangle 59"/>
          <p:cNvSpPr/>
          <p:nvPr userDrawn="1"/>
        </p:nvSpPr>
        <p:spPr>
          <a:xfrm flipH="1">
            <a:off x="-1591" y="4732897"/>
            <a:ext cx="12193589" cy="336177"/>
          </a:xfrm>
          <a:prstGeom prst="rect">
            <a:avLst/>
          </a:prstGeom>
          <a:solidFill>
            <a:srgbClr val="064E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6314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, Divisio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19093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2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spect="1"/>
          </p:cNvSpPr>
          <p:nvPr/>
        </p:nvSpPr>
        <p:spPr>
          <a:xfrm>
            <a:off x="7751366" y="0"/>
            <a:ext cx="444063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9890" y="0"/>
            <a:ext cx="12147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4187" y="5051932"/>
            <a:ext cx="2121961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8427" y="5460984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 Name</a:t>
            </a:r>
            <a:endParaRPr lang="tr-TR" dirty="0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960" y="640080"/>
            <a:ext cx="5585018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960" y="3383280"/>
            <a:ext cx="5578857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ond Level Title</a:t>
            </a:r>
            <a:endParaRPr lang="tr-TR" dirty="0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8427" y="5892928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8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tr-TR" dirty="0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51365" y="0"/>
            <a:ext cx="4440635" cy="3283083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8E5268C-C141-4840-9D00-CD333097B788}"/>
              </a:ext>
            </a:extLst>
          </p:cNvPr>
          <p:cNvSpPr/>
          <p:nvPr userDrawn="1"/>
        </p:nvSpPr>
        <p:spPr>
          <a:xfrm>
            <a:off x="7749346" y="3314331"/>
            <a:ext cx="4442653" cy="5299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008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</a:pPr>
            <a:endParaRPr lang="en-US" sz="1600" b="1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7749346" y="3283084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" name="Rectangle 33"/>
          <p:cNvSpPr/>
          <p:nvPr userDrawn="1"/>
        </p:nvSpPr>
        <p:spPr>
          <a:xfrm>
            <a:off x="7749345" y="3799295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5" hasCustomPrompt="1"/>
          </p:nvPr>
        </p:nvSpPr>
        <p:spPr>
          <a:xfrm>
            <a:off x="7749344" y="3374405"/>
            <a:ext cx="4442656" cy="438517"/>
          </a:xfrm>
          <a:prstGeom prst="rect">
            <a:avLst/>
          </a:prstGeom>
        </p:spPr>
        <p:txBody>
          <a:bodyPr anchor="ctr"/>
          <a:lstStyle>
            <a:lvl1pPr marL="0" algn="ctr" defTabSz="914400" rtl="0" eaLnBrk="1" latinLnBrk="0" hangingPunct="1">
              <a:lnSpc>
                <a:spcPct val="85000"/>
              </a:lnSpc>
              <a:defRPr lang="en-US" sz="1600" b="1" kern="1200" dirty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&lt;DIVISION NAME&gt;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2900" y="5931510"/>
            <a:ext cx="2192529" cy="292877"/>
            <a:chOff x="279400" y="2781300"/>
            <a:chExt cx="8585200" cy="1092200"/>
          </a:xfrm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6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37389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0016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6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4990623" cy="685800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3" name="Rectangle 2"/>
          <p:cNvSpPr/>
          <p:nvPr userDrawn="1"/>
        </p:nvSpPr>
        <p:spPr>
          <a:xfrm flipH="1">
            <a:off x="4990624" y="0"/>
            <a:ext cx="157730" cy="6858000"/>
          </a:xfrm>
          <a:prstGeom prst="rect">
            <a:avLst/>
          </a:prstGeom>
          <a:solidFill>
            <a:srgbClr val="043A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5148355" y="1"/>
            <a:ext cx="7042059" cy="23612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713191" y="1347025"/>
            <a:ext cx="6087634" cy="707944"/>
          </a:xfrm>
          <a:prstGeom prst="rect">
            <a:avLst/>
          </a:prstGeom>
        </p:spPr>
        <p:txBody>
          <a:bodyPr lIns="0" anchor="t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lang="en-US" sz="5400" b="1" i="0" kern="1200" baseline="0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able of Content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713191" y="2623839"/>
            <a:ext cx="5578857" cy="431800"/>
          </a:xfrm>
          <a:prstGeom prst="rect">
            <a:avLst/>
          </a:prstGeom>
        </p:spPr>
        <p:txBody>
          <a:bodyPr lIns="0" anchor="t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age titl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5211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10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11681"/>
            <a:ext cx="11272838" cy="4174867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74438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4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 flipH="1">
            <a:off x="-2" y="1549668"/>
            <a:ext cx="4297680" cy="530833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bg2">
                  <a:lumMod val="20000"/>
                  <a:lumOff val="8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ontent Placeholder 8"/>
          <p:cNvSpPr txBox="1">
            <a:spLocks/>
          </p:cNvSpPr>
          <p:nvPr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  <p:grpSp>
        <p:nvGrpSpPr>
          <p:cNvPr id="40" name="Group 39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5" name="TextBox 24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3" name="Group 32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4" name="TextBox 33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39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753301" y="2011681"/>
            <a:ext cx="6976736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Inter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02838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8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/>
          <p:cNvSpPr/>
          <p:nvPr/>
        </p:nvSpPr>
        <p:spPr>
          <a:xfrm>
            <a:off x="0" y="1554481"/>
            <a:ext cx="2743915" cy="531966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wrap="square" lIns="365760" tIns="91440" rIns="365760" bIns="182880" anchor="ctr">
            <a:noAutofit/>
          </a:bodyPr>
          <a:lstStyle/>
          <a:p>
            <a:endParaRPr lang="en-US" sz="7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3" name="TextBox 32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4" name="Group 33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9" name="TextBox 38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40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178629" y="2011681"/>
            <a:ext cx="8551409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  <p:sp>
        <p:nvSpPr>
          <p:cNvPr id="44" name="Content Placeholder 8"/>
          <p:cNvSpPr txBox="1">
            <a:spLocks/>
          </p:cNvSpPr>
          <p:nvPr userDrawn="1"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23424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82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1554480"/>
            <a:ext cx="329184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291840" y="1554479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838902" y="2011681"/>
            <a:ext cx="7891135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Lef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75280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06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-2" y="1554481"/>
            <a:ext cx="384048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840478" y="1554232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87540" y="2011680"/>
            <a:ext cx="7342497" cy="416200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ernal Slide -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2157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0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8900160" y="1554480"/>
            <a:ext cx="329184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Content Placeholder 8"/>
          <p:cNvSpPr txBox="1">
            <a:spLocks/>
          </p:cNvSpPr>
          <p:nvPr userDrawn="1"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 userDrawn="1"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8808590" y="1554232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11432"/>
            <a:ext cx="7937863" cy="416224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8"/>
          <p:cNvSpPr txBox="1">
            <a:spLocks/>
          </p:cNvSpPr>
          <p:nvPr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574017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4" name="think-cell Slide" r:id="rId15" imgW="471" imgH="470" progId="TCLayout.ActiveDocument.1">
                  <p:embed/>
                </p:oleObj>
              </mc:Choice>
              <mc:Fallback>
                <p:oleObj name="think-cell Slide" r:id="rId15" imgW="471" imgH="4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Content Placeholder 8"/>
          <p:cNvSpPr txBox="1">
            <a:spLocks/>
          </p:cNvSpPr>
          <p:nvPr userDrawn="1"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70D1A23-D88D-46C3-95E5-B10C224E1CC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618496" y="6443197"/>
            <a:ext cx="955009" cy="127570"/>
            <a:chOff x="279400" y="2781300"/>
            <a:chExt cx="8585200" cy="1092200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7365CECB-7D2B-4CF7-BFD3-6752DEC67F2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7111873F-5B39-42DE-99F1-E7FC74583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CB93BBE-80DA-457D-B72D-9C9C5E5B86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0D49BCB4-A340-471B-971A-24BD033C7F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0C4938EB-CD7A-497C-9BA4-5CD6B3F08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38FB080F-C58C-4388-AF4B-47AA97CFE9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BAF44958-70BD-4D20-94BC-622DD0D8A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3" name="Freeform 12">
              <a:extLst>
                <a:ext uri="{FF2B5EF4-FFF2-40B4-BE49-F238E27FC236}">
                  <a16:creationId xmlns:a16="http://schemas.microsoft.com/office/drawing/2014/main" id="{6178D6E0-263D-45AD-BE10-D95989C19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4" name="Freeform 13">
              <a:extLst>
                <a:ext uri="{FF2B5EF4-FFF2-40B4-BE49-F238E27FC236}">
                  <a16:creationId xmlns:a16="http://schemas.microsoft.com/office/drawing/2014/main" id="{5E418160-22DA-431A-9B45-BDEDF2B7B5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5" name="Freeform 14">
              <a:extLst>
                <a:ext uri="{FF2B5EF4-FFF2-40B4-BE49-F238E27FC236}">
                  <a16:creationId xmlns:a16="http://schemas.microsoft.com/office/drawing/2014/main" id="{91A4F274-1376-4B3F-9106-428B3F2438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7305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815" r:id="rId2"/>
    <p:sldLayoutId id="2147483804" r:id="rId3"/>
    <p:sldLayoutId id="2147483775" r:id="rId4"/>
    <p:sldLayoutId id="2147483776" r:id="rId5"/>
    <p:sldLayoutId id="2147483777" r:id="rId6"/>
    <p:sldLayoutId id="2147483805" r:id="rId7"/>
    <p:sldLayoutId id="2147483806" r:id="rId8"/>
    <p:sldLayoutId id="2147483808" r:id="rId9"/>
    <p:sldLayoutId id="2147483807" r:id="rId10"/>
    <p:sldLayoutId id="2147483814" r:id="rId1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i="0" kern="1200">
          <a:solidFill>
            <a:schemeClr val="accent2"/>
          </a:solidFill>
          <a:latin typeface="+mj-lt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Tx/>
        <a:buFontTx/>
        <a:buNone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1pPr>
      <a:lvl2pPr marL="200025" indent="-200025" algn="l" defTabSz="914400" rtl="0" eaLnBrk="1" latinLnBrk="0" hangingPunct="1">
        <a:spcBef>
          <a:spcPts val="12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2pPr>
      <a:lvl3pPr marL="398463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3pPr>
      <a:lvl4pPr marL="622300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4pPr>
      <a:lvl5pPr marL="806450" indent="-182563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3333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02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Kathy Filkins</a:t>
            </a: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HealthHUB</a:t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usiness Canva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8/1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/2019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52080" y="0"/>
            <a:ext cx="4436745" cy="3429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18E5268C-C141-4840-9D00-CD333097B788}"/>
              </a:ext>
            </a:extLst>
          </p:cNvPr>
          <p:cNvSpPr/>
          <p:nvPr/>
        </p:nvSpPr>
        <p:spPr>
          <a:xfrm>
            <a:off x="7749346" y="3314331"/>
            <a:ext cx="4442653" cy="5299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008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6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rchitecture Planning</a:t>
            </a:r>
          </a:p>
        </p:txBody>
      </p:sp>
      <p:sp>
        <p:nvSpPr>
          <p:cNvPr id="16" name="Rectangle 15"/>
          <p:cNvSpPr/>
          <p:nvPr/>
        </p:nvSpPr>
        <p:spPr>
          <a:xfrm>
            <a:off x="7749346" y="3283084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749345" y="3799295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96675" y="3403488"/>
            <a:ext cx="426894" cy="364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84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79023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34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lthHUB Business Canva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Holistic view of the current CVS HealthHUB business model</a:t>
            </a:r>
            <a:endParaRPr lang="en-US" i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EC2180E-ADC9-45E8-ACAC-AA8639D58EB0}"/>
              </a:ext>
            </a:extLst>
          </p:cNvPr>
          <p:cNvSpPr txBox="1"/>
          <p:nvPr/>
        </p:nvSpPr>
        <p:spPr>
          <a:xfrm>
            <a:off x="497149" y="1846554"/>
            <a:ext cx="1744537" cy="313233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Key Partnership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264B917-4738-4EDA-9C92-C7733ED9246B}"/>
              </a:ext>
            </a:extLst>
          </p:cNvPr>
          <p:cNvSpPr txBox="1"/>
          <p:nvPr/>
        </p:nvSpPr>
        <p:spPr>
          <a:xfrm>
            <a:off x="5431618" y="1840417"/>
            <a:ext cx="2921628" cy="314255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Value Proposi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7DD8883-8AB8-4DAB-9896-B97679AB488E}"/>
              </a:ext>
            </a:extLst>
          </p:cNvPr>
          <p:cNvSpPr txBox="1"/>
          <p:nvPr/>
        </p:nvSpPr>
        <p:spPr>
          <a:xfrm>
            <a:off x="497149" y="4979965"/>
            <a:ext cx="5598851" cy="135721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Cost Stru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2A78C51-56DA-401E-BD94-28EE8597FE01}"/>
              </a:ext>
            </a:extLst>
          </p:cNvPr>
          <p:cNvSpPr txBox="1"/>
          <p:nvPr/>
        </p:nvSpPr>
        <p:spPr>
          <a:xfrm>
            <a:off x="2248125" y="1835340"/>
            <a:ext cx="3181455" cy="171685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Key Activit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EA11D69-3879-4CCB-BAC8-6104091602CD}"/>
              </a:ext>
            </a:extLst>
          </p:cNvPr>
          <p:cNvSpPr txBox="1"/>
          <p:nvPr/>
        </p:nvSpPr>
        <p:spPr>
          <a:xfrm>
            <a:off x="10635078" y="1840417"/>
            <a:ext cx="1056810" cy="313909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>
                <a:solidFill>
                  <a:schemeClr val="tx2"/>
                </a:solidFill>
                <a:cs typeface="Open Sans Light"/>
              </a:rPr>
              <a:t>Customer Segment</a:t>
            </a:r>
            <a:endParaRPr lang="en-US" sz="1400" b="1" dirty="0">
              <a:solidFill>
                <a:schemeClr val="tx2"/>
              </a:solidFill>
              <a:cs typeface="Open Sans Light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C2F0882-378F-43E3-B718-5F38E6584BD9}"/>
              </a:ext>
            </a:extLst>
          </p:cNvPr>
          <p:cNvSpPr txBox="1"/>
          <p:nvPr/>
        </p:nvSpPr>
        <p:spPr>
          <a:xfrm>
            <a:off x="8363965" y="1851559"/>
            <a:ext cx="2269075" cy="116708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Customer Relationship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9BCF63C-1DFD-48EA-9435-EE4343DE3D94}"/>
              </a:ext>
            </a:extLst>
          </p:cNvPr>
          <p:cNvSpPr txBox="1"/>
          <p:nvPr/>
        </p:nvSpPr>
        <p:spPr>
          <a:xfrm>
            <a:off x="2248125" y="3558565"/>
            <a:ext cx="3172773" cy="142032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Key Resource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9F2A279-C025-414A-A9FC-A0F11D339A1E}"/>
              </a:ext>
            </a:extLst>
          </p:cNvPr>
          <p:cNvSpPr txBox="1"/>
          <p:nvPr/>
        </p:nvSpPr>
        <p:spPr>
          <a:xfrm>
            <a:off x="8376824" y="3020342"/>
            <a:ext cx="2269075" cy="195916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Channel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00DCEC-069C-4C4E-84BA-825262ABB16E}"/>
              </a:ext>
            </a:extLst>
          </p:cNvPr>
          <p:cNvSpPr txBox="1"/>
          <p:nvPr/>
        </p:nvSpPr>
        <p:spPr>
          <a:xfrm>
            <a:off x="6093037" y="4982975"/>
            <a:ext cx="5598851" cy="135073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Revenue Streams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633241" y="2171026"/>
            <a:ext cx="1516666" cy="404241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cs typeface="Open Sans Bold"/>
              </a:rPr>
              <a:t>Clinical affiliations</a:t>
            </a:r>
          </a:p>
        </p:txBody>
      </p:sp>
      <p:sp>
        <p:nvSpPr>
          <p:cNvPr id="24" name="Rounded Rectangle 23"/>
          <p:cNvSpPr/>
          <p:nvPr/>
        </p:nvSpPr>
        <p:spPr>
          <a:xfrm>
            <a:off x="633241" y="2618820"/>
            <a:ext cx="1516666" cy="353212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+mj-lt"/>
                <a:cs typeface="Open Sans Bold"/>
              </a:rPr>
              <a:t>Primary care doctors </a:t>
            </a:r>
          </a:p>
        </p:txBody>
      </p:sp>
      <p:sp>
        <p:nvSpPr>
          <p:cNvPr id="25" name="Rounded Rectangle 24"/>
          <p:cNvSpPr/>
          <p:nvPr/>
        </p:nvSpPr>
        <p:spPr>
          <a:xfrm>
            <a:off x="633241" y="3015585"/>
            <a:ext cx="1516666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+mj-lt"/>
                <a:cs typeface="Open Sans Bold"/>
              </a:rPr>
              <a:t>Health plans</a:t>
            </a:r>
          </a:p>
        </p:txBody>
      </p:sp>
      <p:sp>
        <p:nvSpPr>
          <p:cNvPr id="26" name="Rounded Rectangle 25"/>
          <p:cNvSpPr/>
          <p:nvPr/>
        </p:nvSpPr>
        <p:spPr>
          <a:xfrm>
            <a:off x="633241" y="4144152"/>
            <a:ext cx="1516666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+mj-lt"/>
                <a:cs typeface="Open Sans Bold"/>
              </a:rPr>
              <a:t>Community Partners</a:t>
            </a:r>
          </a:p>
        </p:txBody>
      </p:sp>
      <p:sp>
        <p:nvSpPr>
          <p:cNvPr id="27" name="Rounded Rectangle 26"/>
          <p:cNvSpPr/>
          <p:nvPr/>
        </p:nvSpPr>
        <p:spPr>
          <a:xfrm>
            <a:off x="2355897" y="2098888"/>
            <a:ext cx="1532632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cs typeface="Open Sans Bold"/>
              </a:rPr>
              <a:t>Personalized Pharmacy Support</a:t>
            </a:r>
          </a:p>
        </p:txBody>
      </p:sp>
      <p:sp>
        <p:nvSpPr>
          <p:cNvPr id="28" name="Rounded Rectangle 27"/>
          <p:cNvSpPr/>
          <p:nvPr/>
        </p:nvSpPr>
        <p:spPr>
          <a:xfrm>
            <a:off x="2355897" y="2477388"/>
            <a:ext cx="1532632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cs typeface="Open Sans Bold"/>
              </a:rPr>
              <a:t>Health Care Services &amp; Encounters</a:t>
            </a:r>
          </a:p>
        </p:txBody>
      </p:sp>
      <p:sp>
        <p:nvSpPr>
          <p:cNvPr id="29" name="Rounded Rectangle 28"/>
          <p:cNvSpPr/>
          <p:nvPr/>
        </p:nvSpPr>
        <p:spPr>
          <a:xfrm>
            <a:off x="4054038" y="2105011"/>
            <a:ext cx="1299687" cy="31130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cs typeface="Open Sans Bold"/>
              </a:rPr>
              <a:t>Managing Chronic Conditions</a:t>
            </a:r>
          </a:p>
        </p:txBody>
      </p:sp>
      <p:sp>
        <p:nvSpPr>
          <p:cNvPr id="30" name="Rounded Rectangle 29"/>
          <p:cNvSpPr/>
          <p:nvPr/>
        </p:nvSpPr>
        <p:spPr>
          <a:xfrm>
            <a:off x="2383861" y="4175789"/>
            <a:ext cx="1330276" cy="439325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+mj-lt"/>
                <a:cs typeface="Open Sans Bold"/>
              </a:rPr>
              <a:t>Skilled </a:t>
            </a:r>
            <a:r>
              <a:rPr lang="en-US" sz="900" dirty="0" err="1">
                <a:solidFill>
                  <a:schemeClr val="tx1"/>
                </a:solidFill>
                <a:latin typeface="+mj-lt"/>
                <a:cs typeface="Open Sans Bold"/>
              </a:rPr>
              <a:t>RPhs</a:t>
            </a:r>
            <a:r>
              <a:rPr lang="en-US" sz="900" dirty="0">
                <a:solidFill>
                  <a:schemeClr val="tx1"/>
                </a:solidFill>
                <a:latin typeface="+mj-lt"/>
                <a:cs typeface="Open Sans Bold"/>
              </a:rPr>
              <a:t>, NPs, and Care Managers</a:t>
            </a:r>
          </a:p>
        </p:txBody>
      </p:sp>
      <p:sp>
        <p:nvSpPr>
          <p:cNvPr id="31" name="Rounded Rectangle 30"/>
          <p:cNvSpPr/>
          <p:nvPr/>
        </p:nvSpPr>
        <p:spPr>
          <a:xfrm>
            <a:off x="3788655" y="3832518"/>
            <a:ext cx="1250535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+mj-lt"/>
                <a:cs typeface="Open Sans Bold"/>
              </a:rPr>
              <a:t>Local real-estate</a:t>
            </a:r>
          </a:p>
        </p:txBody>
      </p:sp>
      <p:sp>
        <p:nvSpPr>
          <p:cNvPr id="33" name="Rounded Rectangle 32"/>
          <p:cNvSpPr/>
          <p:nvPr/>
        </p:nvSpPr>
        <p:spPr>
          <a:xfrm>
            <a:off x="5557546" y="3115718"/>
            <a:ext cx="2677445" cy="528974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Improving care for patients managing chronic conditions, with a focus on next best clinical actions and driving medical costs savings</a:t>
            </a:r>
            <a:endParaRPr lang="en-US" sz="900" dirty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35" name="Rounded Rectangle 34"/>
          <p:cNvSpPr/>
          <p:nvPr/>
        </p:nvSpPr>
        <p:spPr>
          <a:xfrm>
            <a:off x="5563593" y="4359975"/>
            <a:ext cx="2678177" cy="476837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+mj-lt"/>
                <a:cs typeface="Open Sans Bold"/>
              </a:rPr>
              <a:t>One stop medical center- for fast, cost-effective, convenient, reliable diagnosis and treatment services</a:t>
            </a:r>
          </a:p>
        </p:txBody>
      </p:sp>
      <p:sp>
        <p:nvSpPr>
          <p:cNvPr id="41" name="Rounded Rectangle 40"/>
          <p:cNvSpPr/>
          <p:nvPr/>
        </p:nvSpPr>
        <p:spPr>
          <a:xfrm>
            <a:off x="10752233" y="2546744"/>
            <a:ext cx="822499" cy="541762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+mj-lt"/>
                <a:cs typeface="Open Sans Bold"/>
              </a:rPr>
              <a:t>US domestic population</a:t>
            </a:r>
            <a:endParaRPr lang="en-US" sz="900" dirty="0">
              <a:solidFill>
                <a:schemeClr val="tx1"/>
              </a:solidFill>
              <a:cs typeface="Open Sans Bold"/>
            </a:endParaRPr>
          </a:p>
        </p:txBody>
      </p:sp>
      <p:sp>
        <p:nvSpPr>
          <p:cNvPr id="42" name="Rounded Rectangle 41"/>
          <p:cNvSpPr/>
          <p:nvPr/>
        </p:nvSpPr>
        <p:spPr>
          <a:xfrm>
            <a:off x="8504362" y="3293774"/>
            <a:ext cx="830615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cs typeface="Open Sans Bold"/>
              </a:rPr>
              <a:t>In person</a:t>
            </a:r>
          </a:p>
        </p:txBody>
      </p:sp>
      <p:sp>
        <p:nvSpPr>
          <p:cNvPr id="43" name="Rounded Rectangle 42"/>
          <p:cNvSpPr/>
          <p:nvPr/>
        </p:nvSpPr>
        <p:spPr>
          <a:xfrm>
            <a:off x="8504362" y="3670753"/>
            <a:ext cx="830615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cs typeface="Open Sans Bold"/>
              </a:rPr>
              <a:t>Phone, text</a:t>
            </a:r>
          </a:p>
        </p:txBody>
      </p:sp>
      <p:sp>
        <p:nvSpPr>
          <p:cNvPr id="44" name="Rounded Rectangle 43"/>
          <p:cNvSpPr/>
          <p:nvPr/>
        </p:nvSpPr>
        <p:spPr>
          <a:xfrm>
            <a:off x="8504362" y="4047732"/>
            <a:ext cx="830615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cs typeface="Open Sans Bold"/>
              </a:rPr>
              <a:t>Tele-medicine</a:t>
            </a:r>
          </a:p>
        </p:txBody>
      </p:sp>
      <p:sp>
        <p:nvSpPr>
          <p:cNvPr id="45" name="Rounded Rectangle 44"/>
          <p:cNvSpPr/>
          <p:nvPr/>
        </p:nvSpPr>
        <p:spPr>
          <a:xfrm>
            <a:off x="9512073" y="3294859"/>
            <a:ext cx="830615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cs typeface="Open Sans Bold"/>
              </a:rPr>
              <a:t>Email</a:t>
            </a:r>
          </a:p>
        </p:txBody>
      </p:sp>
      <p:sp>
        <p:nvSpPr>
          <p:cNvPr id="46" name="Rounded Rectangle 45"/>
          <p:cNvSpPr/>
          <p:nvPr/>
        </p:nvSpPr>
        <p:spPr>
          <a:xfrm>
            <a:off x="9512073" y="3672715"/>
            <a:ext cx="830615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cs typeface="Open Sans Bold"/>
              </a:rPr>
              <a:t>Web/ Mobile app</a:t>
            </a:r>
          </a:p>
        </p:txBody>
      </p:sp>
      <p:sp>
        <p:nvSpPr>
          <p:cNvPr id="47" name="Rounded Rectangle 46"/>
          <p:cNvSpPr/>
          <p:nvPr/>
        </p:nvSpPr>
        <p:spPr>
          <a:xfrm>
            <a:off x="9512073" y="4050572"/>
            <a:ext cx="830615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cs typeface="Open Sans Bold"/>
              </a:rPr>
              <a:t>Video Visit</a:t>
            </a:r>
          </a:p>
        </p:txBody>
      </p:sp>
      <p:sp>
        <p:nvSpPr>
          <p:cNvPr id="48" name="Rounded Rectangle 47"/>
          <p:cNvSpPr/>
          <p:nvPr/>
        </p:nvSpPr>
        <p:spPr>
          <a:xfrm>
            <a:off x="9389051" y="2180927"/>
            <a:ext cx="1140544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+mj-lt"/>
                <a:cs typeface="Open Sans Bold"/>
              </a:rPr>
              <a:t>Patients</a:t>
            </a:r>
          </a:p>
        </p:txBody>
      </p:sp>
      <p:sp>
        <p:nvSpPr>
          <p:cNvPr id="49" name="Rounded Rectangle 48"/>
          <p:cNvSpPr/>
          <p:nvPr/>
        </p:nvSpPr>
        <p:spPr>
          <a:xfrm>
            <a:off x="8470402" y="2586423"/>
            <a:ext cx="844120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+mj-lt"/>
                <a:cs typeface="Open Sans Bold"/>
              </a:rPr>
              <a:t>Affiliations</a:t>
            </a:r>
          </a:p>
        </p:txBody>
      </p:sp>
      <p:sp>
        <p:nvSpPr>
          <p:cNvPr id="50" name="Rounded Rectangle 49"/>
          <p:cNvSpPr/>
          <p:nvPr/>
        </p:nvSpPr>
        <p:spPr>
          <a:xfrm>
            <a:off x="855810" y="5195893"/>
            <a:ext cx="4585482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cs typeface="Open Sans Bold"/>
              </a:rPr>
              <a:t>Wages for </a:t>
            </a:r>
            <a:r>
              <a:rPr lang="en-US" sz="900" dirty="0">
                <a:solidFill>
                  <a:schemeClr val="tx1"/>
                </a:solidFill>
              </a:rPr>
              <a:t>pharmacists, nurse practitioners, care managers and support staff</a:t>
            </a:r>
            <a:r>
              <a:rPr lang="en-US" dirty="0">
                <a:solidFill>
                  <a:schemeClr val="tx1"/>
                </a:solidFill>
              </a:rPr>
              <a:t> </a:t>
            </a:r>
            <a:endParaRPr lang="en-US" sz="900" dirty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51" name="Rounded Rectangle 50"/>
          <p:cNvSpPr/>
          <p:nvPr/>
        </p:nvSpPr>
        <p:spPr>
          <a:xfrm>
            <a:off x="855810" y="5591123"/>
            <a:ext cx="4585482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+mj-lt"/>
                <a:cs typeface="Open Sans Bold"/>
              </a:rPr>
              <a:t>Store real-estate is very expensive especially in urban areas.</a:t>
            </a:r>
          </a:p>
        </p:txBody>
      </p:sp>
      <p:sp>
        <p:nvSpPr>
          <p:cNvPr id="52" name="Rounded Rectangle 51"/>
          <p:cNvSpPr/>
          <p:nvPr/>
        </p:nvSpPr>
        <p:spPr>
          <a:xfrm>
            <a:off x="6443763" y="5574162"/>
            <a:ext cx="4585482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cs typeface="Open Sans Bold"/>
              </a:rPr>
              <a:t>Health insurance payments for qualified prescriptions, products and clinical services</a:t>
            </a:r>
          </a:p>
        </p:txBody>
      </p:sp>
      <p:sp>
        <p:nvSpPr>
          <p:cNvPr id="53" name="Rounded Rectangle 52"/>
          <p:cNvSpPr/>
          <p:nvPr/>
        </p:nvSpPr>
        <p:spPr>
          <a:xfrm>
            <a:off x="6454661" y="5959760"/>
            <a:ext cx="4585482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+mj-lt"/>
                <a:cs typeface="Open Sans Bold"/>
              </a:rPr>
              <a:t>Health plan, Employer and Provider Network payments for enrolled programs delivered in the HealthHub</a:t>
            </a:r>
          </a:p>
        </p:txBody>
      </p:sp>
      <p:sp>
        <p:nvSpPr>
          <p:cNvPr id="55" name="Rounded Rectangle 54"/>
          <p:cNvSpPr/>
          <p:nvPr/>
        </p:nvSpPr>
        <p:spPr>
          <a:xfrm>
            <a:off x="4061645" y="2485431"/>
            <a:ext cx="1292963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cs typeface="Open Sans Bold"/>
              </a:rPr>
              <a:t>Wellness &amp; Education Programs</a:t>
            </a:r>
          </a:p>
        </p:txBody>
      </p:sp>
      <p:sp>
        <p:nvSpPr>
          <p:cNvPr id="57" name="Rounded Rectangle 56"/>
          <p:cNvSpPr/>
          <p:nvPr/>
        </p:nvSpPr>
        <p:spPr>
          <a:xfrm>
            <a:off x="2348281" y="2855888"/>
            <a:ext cx="1540248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Nutritional health</a:t>
            </a:r>
            <a:endParaRPr lang="en-US" sz="900" dirty="0">
              <a:solidFill>
                <a:schemeClr val="tx1"/>
              </a:solidFill>
              <a:cs typeface="Open Sans Bold"/>
            </a:endParaRPr>
          </a:p>
        </p:txBody>
      </p:sp>
      <p:sp>
        <p:nvSpPr>
          <p:cNvPr id="58" name="Rounded Rectangle 57"/>
          <p:cNvSpPr/>
          <p:nvPr/>
        </p:nvSpPr>
        <p:spPr>
          <a:xfrm>
            <a:off x="3777488" y="4229134"/>
            <a:ext cx="1208221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+mj-lt"/>
                <a:cs typeface="Open Sans Bold"/>
              </a:rPr>
              <a:t>Supply-chain &amp; Logistics</a:t>
            </a:r>
          </a:p>
        </p:txBody>
      </p:sp>
      <p:sp>
        <p:nvSpPr>
          <p:cNvPr id="59" name="Rounded Rectangle 58"/>
          <p:cNvSpPr/>
          <p:nvPr/>
        </p:nvSpPr>
        <p:spPr>
          <a:xfrm>
            <a:off x="633241" y="4520342"/>
            <a:ext cx="1516666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cs typeface="Open Sans Bold"/>
              </a:rPr>
              <a:t>Suppliers &amp; Logistics</a:t>
            </a:r>
            <a:endParaRPr lang="en-US" sz="900" dirty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60" name="Rounded Rectangle 59"/>
          <p:cNvSpPr/>
          <p:nvPr/>
        </p:nvSpPr>
        <p:spPr>
          <a:xfrm>
            <a:off x="4073241" y="2855520"/>
            <a:ext cx="1300968" cy="350930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DME and services</a:t>
            </a:r>
            <a:endParaRPr lang="en-US" sz="900" dirty="0">
              <a:solidFill>
                <a:schemeClr val="tx1"/>
              </a:solidFill>
              <a:cs typeface="Open Sans Bold"/>
            </a:endParaRPr>
          </a:p>
        </p:txBody>
      </p:sp>
      <p:sp>
        <p:nvSpPr>
          <p:cNvPr id="54" name="Rounded Rectangle 53"/>
          <p:cNvSpPr/>
          <p:nvPr/>
        </p:nvSpPr>
        <p:spPr>
          <a:xfrm>
            <a:off x="4085272" y="3239781"/>
            <a:ext cx="1254567" cy="280592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cs typeface="Open Sans Bold"/>
              </a:rPr>
              <a:t>Inventory Management</a:t>
            </a:r>
          </a:p>
        </p:txBody>
      </p:sp>
      <p:sp>
        <p:nvSpPr>
          <p:cNvPr id="56" name="Rounded Rectangle 50">
            <a:extLst>
              <a:ext uri="{FF2B5EF4-FFF2-40B4-BE49-F238E27FC236}">
                <a16:creationId xmlns:a16="http://schemas.microsoft.com/office/drawing/2014/main" id="{257A5707-14C2-4BB8-9A08-2C02B58728C4}"/>
              </a:ext>
            </a:extLst>
          </p:cNvPr>
          <p:cNvSpPr/>
          <p:nvPr/>
        </p:nvSpPr>
        <p:spPr>
          <a:xfrm>
            <a:off x="849108" y="5986354"/>
            <a:ext cx="4585482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+mj-lt"/>
                <a:cs typeface="Open Sans Bold"/>
              </a:rPr>
              <a:t>Infrastructure costs for build out of 1</a:t>
            </a:r>
            <a:r>
              <a:rPr lang="en-US" sz="900" dirty="0">
                <a:solidFill>
                  <a:schemeClr val="tx1"/>
                </a:solidFill>
                <a:latin typeface="+mj-lt"/>
              </a:rPr>
              <a:t>,500 HealthHUB locations</a:t>
            </a:r>
            <a:endParaRPr lang="en-US" sz="900" dirty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62" name="Rounded Rectangle 31">
            <a:extLst>
              <a:ext uri="{FF2B5EF4-FFF2-40B4-BE49-F238E27FC236}">
                <a16:creationId xmlns:a16="http://schemas.microsoft.com/office/drawing/2014/main" id="{B8951429-A35C-4E91-84B6-10FEA00C4B62}"/>
              </a:ext>
            </a:extLst>
          </p:cNvPr>
          <p:cNvSpPr/>
          <p:nvPr/>
        </p:nvSpPr>
        <p:spPr>
          <a:xfrm>
            <a:off x="5563593" y="2147310"/>
            <a:ext cx="2684170" cy="413433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Transforming the consumer health experience, connecting with people in their communities</a:t>
            </a:r>
            <a:endParaRPr lang="en-US" sz="900" dirty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63" name="Rounded Rectangle 31">
            <a:extLst>
              <a:ext uri="{FF2B5EF4-FFF2-40B4-BE49-F238E27FC236}">
                <a16:creationId xmlns:a16="http://schemas.microsoft.com/office/drawing/2014/main" id="{05E96E7A-3C65-42B5-A60A-66851EF0771F}"/>
              </a:ext>
            </a:extLst>
          </p:cNvPr>
          <p:cNvSpPr/>
          <p:nvPr/>
        </p:nvSpPr>
        <p:spPr>
          <a:xfrm>
            <a:off x="5570317" y="2631514"/>
            <a:ext cx="2677445" cy="413433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Convenient, personalized and integrated access to health care support and services</a:t>
            </a:r>
            <a:endParaRPr lang="en-US" sz="900" dirty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65" name="Rounded Rectangle 29">
            <a:extLst>
              <a:ext uri="{FF2B5EF4-FFF2-40B4-BE49-F238E27FC236}">
                <a16:creationId xmlns:a16="http://schemas.microsoft.com/office/drawing/2014/main" id="{BAF47EB1-7C48-4A68-AC9F-B3A12F004500}"/>
              </a:ext>
            </a:extLst>
          </p:cNvPr>
          <p:cNvSpPr/>
          <p:nvPr/>
        </p:nvSpPr>
        <p:spPr>
          <a:xfrm>
            <a:off x="2369329" y="3787604"/>
            <a:ext cx="1295711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+mj-lt"/>
                <a:cs typeface="Open Sans Bold"/>
              </a:rPr>
              <a:t>Care Concierge</a:t>
            </a:r>
          </a:p>
        </p:txBody>
      </p:sp>
      <p:sp>
        <p:nvSpPr>
          <p:cNvPr id="66" name="Rounded Rectangle 58">
            <a:extLst>
              <a:ext uri="{FF2B5EF4-FFF2-40B4-BE49-F238E27FC236}">
                <a16:creationId xmlns:a16="http://schemas.microsoft.com/office/drawing/2014/main" id="{86F8032A-7BAD-4BF5-9845-77CC46038CC5}"/>
              </a:ext>
            </a:extLst>
          </p:cNvPr>
          <p:cNvSpPr/>
          <p:nvPr/>
        </p:nvSpPr>
        <p:spPr>
          <a:xfrm>
            <a:off x="633241" y="3767963"/>
            <a:ext cx="1516666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</a:rPr>
              <a:t>Social service providers</a:t>
            </a:r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67" name="Rounded Rectangle 44">
            <a:extLst>
              <a:ext uri="{FF2B5EF4-FFF2-40B4-BE49-F238E27FC236}">
                <a16:creationId xmlns:a16="http://schemas.microsoft.com/office/drawing/2014/main" id="{75A02AC8-6CCB-4326-8745-E41E87CC0A9F}"/>
              </a:ext>
            </a:extLst>
          </p:cNvPr>
          <p:cNvSpPr/>
          <p:nvPr/>
        </p:nvSpPr>
        <p:spPr>
          <a:xfrm>
            <a:off x="8505552" y="4432914"/>
            <a:ext cx="1837135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Digital and on-demand health tools (e.g. </a:t>
            </a:r>
            <a:r>
              <a:rPr lang="en-US" sz="900" dirty="0">
                <a:solidFill>
                  <a:schemeClr val="tx1"/>
                </a:solidFill>
                <a:cs typeface="Open Sans Bold"/>
              </a:rPr>
              <a:t>Learning Tables)</a:t>
            </a:r>
          </a:p>
        </p:txBody>
      </p:sp>
      <p:sp>
        <p:nvSpPr>
          <p:cNvPr id="68" name="Rounded Rectangle 53">
            <a:extLst>
              <a:ext uri="{FF2B5EF4-FFF2-40B4-BE49-F238E27FC236}">
                <a16:creationId xmlns:a16="http://schemas.microsoft.com/office/drawing/2014/main" id="{DF7F1DDB-783D-4F14-839B-BE7EB511FEC1}"/>
              </a:ext>
            </a:extLst>
          </p:cNvPr>
          <p:cNvSpPr/>
          <p:nvPr/>
        </p:nvSpPr>
        <p:spPr>
          <a:xfrm>
            <a:off x="2355897" y="3234389"/>
            <a:ext cx="1540248" cy="280592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cs typeface="Open Sans Bold"/>
              </a:rPr>
              <a:t>Customer Engagement &amp; Care Coordination</a:t>
            </a:r>
          </a:p>
        </p:txBody>
      </p:sp>
      <p:sp>
        <p:nvSpPr>
          <p:cNvPr id="69" name="Rounded Rectangle 57">
            <a:extLst>
              <a:ext uri="{FF2B5EF4-FFF2-40B4-BE49-F238E27FC236}">
                <a16:creationId xmlns:a16="http://schemas.microsoft.com/office/drawing/2014/main" id="{D7495728-73C5-430A-945E-3E4B9899EBD4}"/>
              </a:ext>
            </a:extLst>
          </p:cNvPr>
          <p:cNvSpPr/>
          <p:nvPr/>
        </p:nvSpPr>
        <p:spPr>
          <a:xfrm>
            <a:off x="2879227" y="4630885"/>
            <a:ext cx="1827739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+mj-lt"/>
                <a:cs typeface="Open Sans Bold"/>
              </a:rPr>
              <a:t>MinuteClinic &amp; </a:t>
            </a:r>
          </a:p>
          <a:p>
            <a:pPr algn="ctr"/>
            <a:r>
              <a:rPr lang="en-US" sz="900" dirty="0">
                <a:solidFill>
                  <a:schemeClr val="tx1"/>
                </a:solidFill>
                <a:latin typeface="+mj-lt"/>
                <a:cs typeface="Open Sans Bold"/>
              </a:rPr>
              <a:t>Pharmacy</a:t>
            </a:r>
          </a:p>
        </p:txBody>
      </p:sp>
      <p:sp>
        <p:nvSpPr>
          <p:cNvPr id="70" name="Rounded Rectangle 32">
            <a:extLst>
              <a:ext uri="{FF2B5EF4-FFF2-40B4-BE49-F238E27FC236}">
                <a16:creationId xmlns:a16="http://schemas.microsoft.com/office/drawing/2014/main" id="{94F3584D-CC38-4B4E-B3D4-E520C2590F6C}"/>
              </a:ext>
            </a:extLst>
          </p:cNvPr>
          <p:cNvSpPr/>
          <p:nvPr/>
        </p:nvSpPr>
        <p:spPr>
          <a:xfrm>
            <a:off x="5557545" y="3715463"/>
            <a:ext cx="2677445" cy="538821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Innovative health care model that will create an entirely new consumer experience and help people on their path to better health</a:t>
            </a:r>
            <a:endParaRPr lang="en-US" sz="900" dirty="0">
              <a:solidFill>
                <a:schemeClr val="tx1"/>
              </a:solidFill>
              <a:cs typeface="Open Sans Bold"/>
            </a:endParaRPr>
          </a:p>
        </p:txBody>
      </p:sp>
      <p:sp>
        <p:nvSpPr>
          <p:cNvPr id="71" name="Rounded Rectangle 24">
            <a:extLst>
              <a:ext uri="{FF2B5EF4-FFF2-40B4-BE49-F238E27FC236}">
                <a16:creationId xmlns:a16="http://schemas.microsoft.com/office/drawing/2014/main" id="{E7F4D9D2-13BA-48B0-8713-4018A53B3BDF}"/>
              </a:ext>
            </a:extLst>
          </p:cNvPr>
          <p:cNvSpPr/>
          <p:nvPr/>
        </p:nvSpPr>
        <p:spPr>
          <a:xfrm>
            <a:off x="633241" y="3391774"/>
            <a:ext cx="1516666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+mj-lt"/>
                <a:cs typeface="Open Sans Bold"/>
              </a:rPr>
              <a:t>Providers &amp; Provider Networks</a:t>
            </a:r>
          </a:p>
        </p:txBody>
      </p:sp>
      <p:sp>
        <p:nvSpPr>
          <p:cNvPr id="72" name="Rounded Rectangle 51">
            <a:extLst>
              <a:ext uri="{FF2B5EF4-FFF2-40B4-BE49-F238E27FC236}">
                <a16:creationId xmlns:a16="http://schemas.microsoft.com/office/drawing/2014/main" id="{BC376AC2-AC2C-4C09-8CBD-CEB0E99841B0}"/>
              </a:ext>
            </a:extLst>
          </p:cNvPr>
          <p:cNvSpPr/>
          <p:nvPr/>
        </p:nvSpPr>
        <p:spPr>
          <a:xfrm>
            <a:off x="6454661" y="5195075"/>
            <a:ext cx="4585482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cs typeface="Open Sans Bold"/>
              </a:rPr>
              <a:t>Customer out of pocket payment for products and services</a:t>
            </a:r>
          </a:p>
        </p:txBody>
      </p:sp>
      <p:sp>
        <p:nvSpPr>
          <p:cNvPr id="73" name="Rounded Rectangle 47">
            <a:extLst>
              <a:ext uri="{FF2B5EF4-FFF2-40B4-BE49-F238E27FC236}">
                <a16:creationId xmlns:a16="http://schemas.microsoft.com/office/drawing/2014/main" id="{0F2DC729-23E0-4568-85B6-BB288BF08429}"/>
              </a:ext>
            </a:extLst>
          </p:cNvPr>
          <p:cNvSpPr/>
          <p:nvPr/>
        </p:nvSpPr>
        <p:spPr>
          <a:xfrm>
            <a:off x="8444919" y="2171591"/>
            <a:ext cx="863178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+mj-lt"/>
                <a:cs typeface="Open Sans Bold"/>
              </a:rPr>
              <a:t>Retail Customer</a:t>
            </a:r>
          </a:p>
        </p:txBody>
      </p:sp>
      <p:sp>
        <p:nvSpPr>
          <p:cNvPr id="61" name="Rounded Rectangle 47">
            <a:extLst>
              <a:ext uri="{FF2B5EF4-FFF2-40B4-BE49-F238E27FC236}">
                <a16:creationId xmlns:a16="http://schemas.microsoft.com/office/drawing/2014/main" id="{1D2EE30A-2654-4628-98C4-86BF63B6A14D}"/>
              </a:ext>
            </a:extLst>
          </p:cNvPr>
          <p:cNvSpPr/>
          <p:nvPr/>
        </p:nvSpPr>
        <p:spPr>
          <a:xfrm>
            <a:off x="9391349" y="2586487"/>
            <a:ext cx="1138246" cy="3326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+mj-lt"/>
                <a:cs typeface="Open Sans Bold"/>
              </a:rPr>
              <a:t>Community Service Providers</a:t>
            </a:r>
          </a:p>
        </p:txBody>
      </p:sp>
    </p:spTree>
    <p:extLst>
      <p:ext uri="{BB962C8B-B14F-4D97-AF65-F5344CB8AC3E}">
        <p14:creationId xmlns:p14="http://schemas.microsoft.com/office/powerpoint/2010/main" val="310597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oftheCTO_theme_100218">
  <a:themeElements>
    <a:clrScheme name="Aetna - CTO FINAL AUGUST 18">
      <a:dk1>
        <a:srgbClr val="000000"/>
      </a:dk1>
      <a:lt1>
        <a:srgbClr val="FFFFFF"/>
      </a:lt1>
      <a:dk2>
        <a:srgbClr val="414141"/>
      </a:dk2>
      <a:lt2>
        <a:srgbClr val="C2C0C0"/>
      </a:lt2>
      <a:accent1>
        <a:srgbClr val="00859B"/>
      </a:accent1>
      <a:accent2>
        <a:srgbClr val="064E69"/>
      </a:accent2>
      <a:accent3>
        <a:srgbClr val="7CC0CC"/>
      </a:accent3>
      <a:accent4>
        <a:srgbClr val="B2DAE1"/>
      </a:accent4>
      <a:accent5>
        <a:srgbClr val="563D82"/>
      </a:accent5>
      <a:accent6>
        <a:srgbClr val="7C3E98"/>
      </a:accent6>
      <a:hlink>
        <a:srgbClr val="563D82"/>
      </a:hlink>
      <a:folHlink>
        <a:srgbClr val="B18BC1"/>
      </a:folHlink>
    </a:clrScheme>
    <a:fontScheme name="Smar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dirty="0" smtClean="0">
            <a:latin typeface="+mj-lt"/>
            <a:cs typeface="Open Sans Bold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defTabSz="456758" fontAlgn="base">
          <a:spcBef>
            <a:spcPts val="1200"/>
          </a:spcBef>
          <a:defRPr dirty="0" err="1" smtClean="0">
            <a:solidFill>
              <a:schemeClr val="tx2"/>
            </a:solidFill>
            <a:cs typeface="Open Sans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oftheCTO_theme_100218" id="{18E4FBCB-19BE-804A-9DE7-397BE919D330}" vid="{0A8A6A59-A18B-E745-A2BF-59BBEE2B9A0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69E6DEB8F4FB049B548952547B6305B" ma:contentTypeVersion="23" ma:contentTypeDescription="Create a new document." ma:contentTypeScope="" ma:versionID="c215ccef8c3a36b16093470dad90619d">
  <xsd:schema xmlns:xsd="http://www.w3.org/2001/XMLSchema" xmlns:xs="http://www.w3.org/2001/XMLSchema" xmlns:p="http://schemas.microsoft.com/office/2006/metadata/properties" xmlns:ns2="b1cf5257-8992-498b-aff9-2ccb2706890d" xmlns:ns3="f8f3ac21-d33a-4f17-9d4e-9f9f14b93e81" targetNamespace="http://schemas.microsoft.com/office/2006/metadata/properties" ma:root="true" ma:fieldsID="3d38ed3f155d5df0c2af8249c3cff766" ns2:_="" ns3:_="">
    <xsd:import namespace="b1cf5257-8992-498b-aff9-2ccb2706890d"/>
    <xsd:import namespace="f8f3ac21-d33a-4f17-9d4e-9f9f14b93e81"/>
    <xsd:element name="properties">
      <xsd:complexType>
        <xsd:sequence>
          <xsd:element name="documentManagement">
            <xsd:complexType>
              <xsd:all>
                <xsd:element ref="ns2:Link_x0020_to_x0020_Document" minOccurs="0"/>
                <xsd:element ref="ns3:SharedWithUsers" minOccurs="0"/>
                <xsd:element ref="ns3:SharedWithDetails" minOccurs="0"/>
                <xsd:element ref="ns2:ne0396003d134c759a94fef6d5606d1a" minOccurs="0"/>
                <xsd:element ref="ns3:TaxCatchAll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cf5257-8992-498b-aff9-2ccb2706890d" elementFormDefault="qualified">
    <xsd:import namespace="http://schemas.microsoft.com/office/2006/documentManagement/types"/>
    <xsd:import namespace="http://schemas.microsoft.com/office/infopath/2007/PartnerControls"/>
    <xsd:element name="Link_x0020_to_x0020_Document" ma:index="8" nillable="true" ma:displayName="Link to Document" ma:format="Hyperlink" ma:internalName="Link_x0020_to_x0020_Document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ne0396003d134c759a94fef6d5606d1a" ma:index="12" nillable="true" ma:taxonomy="true" ma:internalName="ne0396003d134c759a94fef6d5606d1a" ma:taxonomyFieldName="ItemStatus" ma:displayName="ItemStatus" ma:default="" ma:fieldId="{7e039600-3d13-4c75-9a94-fef6d5606d1a}" ma:taxonomyMulti="true" ma:sspId="3773e5d3-86f4-436a-b35a-a9b626cf6315" ma:termSetId="db40ae4d-ec6d-4fe5-b1a5-c9938661c4e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f3ac21-d33a-4f17-9d4e-9f9f14b93e81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3" nillable="true" ma:displayName="Taxonomy Catch All Column" ma:hidden="true" ma:list="{b152409f-fec3-4f87-b851-0f982ca0a3b0}" ma:internalName="TaxCatchAll" ma:showField="CatchAllData" ma:web="f8f3ac21-d33a-4f17-9d4e-9f9f14b93e8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ink_x0020_to_x0020_Document xmlns="b1cf5257-8992-498b-aff9-2ccb2706890d">
      <Url xsi:nil="true"/>
      <Description xsi:nil="true"/>
    </Link_x0020_to_x0020_Document>
    <TaxCatchAll xmlns="f8f3ac21-d33a-4f17-9d4e-9f9f14b93e81" xsi:nil="true"/>
    <ne0396003d134c759a94fef6d5606d1a xmlns="b1cf5257-8992-498b-aff9-2ccb2706890d">
      <Terms xmlns="http://schemas.microsoft.com/office/infopath/2007/PartnerControls"/>
    </ne0396003d134c759a94fef6d5606d1a>
  </documentManagement>
</p:properties>
</file>

<file path=customXml/itemProps1.xml><?xml version="1.0" encoding="utf-8"?>
<ds:datastoreItem xmlns:ds="http://schemas.openxmlformats.org/officeDocument/2006/customXml" ds:itemID="{3A4C5460-6341-4A06-8926-FDDA58E9162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34B03F1-FA3C-4871-96AC-FD14970AF9E5}"/>
</file>

<file path=customXml/itemProps3.xml><?xml version="1.0" encoding="utf-8"?>
<ds:datastoreItem xmlns:ds="http://schemas.openxmlformats.org/officeDocument/2006/customXml" ds:itemID="{B24F0FD7-590D-477C-84D8-04F64A55F94D}">
  <ds:schemaRefs>
    <ds:schemaRef ds:uri="http://www.w3.org/XML/1998/namespace"/>
    <ds:schemaRef ds:uri="http://schemas.microsoft.com/office/infopath/2007/PartnerControls"/>
    <ds:schemaRef ds:uri="http://purl.org/dc/terms/"/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640900fa-8b29-4318-ac43-6b50d10474da"/>
    <ds:schemaRef ds:uri="9ea8bc4d-1db1-4837-b00f-6e616e24289c"/>
    <ds:schemaRef ds:uri="http://purl.org/dc/dcmitype/"/>
    <ds:schemaRef ds:uri="b1cf5257-8992-498b-aff9-2ccb2706890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etna Violet PPT template-widescreen</Template>
  <TotalTime>7798</TotalTime>
  <Words>285</Words>
  <Application>Microsoft Office PowerPoint</Application>
  <PresentationFormat>Widescreen</PresentationFormat>
  <Paragraphs>61</Paragraphs>
  <Slides>2</Slides>
  <Notes>2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3" baseType="lpstr">
      <vt:lpstr>OfficeoftheCTO_theme_100218</vt:lpstr>
      <vt:lpstr>HealthHUB Business Canvas</vt:lpstr>
      <vt:lpstr>HealthHUB Business Canvas</vt:lpstr>
    </vt:vector>
  </TitlesOfParts>
  <Company>Aetn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effrey Oddo</dc:creator>
  <cp:lastModifiedBy>Filkins, Kathleen R</cp:lastModifiedBy>
  <cp:revision>850</cp:revision>
  <cp:lastPrinted>2017-04-13T12:11:49Z</cp:lastPrinted>
  <dcterms:created xsi:type="dcterms:W3CDTF">2017-11-30T21:23:10Z</dcterms:created>
  <dcterms:modified xsi:type="dcterms:W3CDTF">2020-11-23T15:49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69E6DEB8F4FB049B548952547B6305B</vt:lpwstr>
  </property>
  <property fmtid="{D5CDD505-2E9C-101B-9397-08002B2CF9AE}" pid="3" name="Order">
    <vt:r8>1233500</vt:r8>
  </property>
  <property fmtid="{D5CDD505-2E9C-101B-9397-08002B2CF9AE}" pid="4" name="Sensitivity">
    <vt:lpwstr>Proprietary</vt:lpwstr>
  </property>
  <property fmtid="{D5CDD505-2E9C-101B-9397-08002B2CF9AE}" pid="5" name="MSIP_Label_67599526-06ca-49cc-9fa9-5307800a949a_Extended_MSFT_Method">
    <vt:lpwstr>Automatic</vt:lpwstr>
  </property>
  <property fmtid="{D5CDD505-2E9C-101B-9397-08002B2CF9AE}" pid="6" name="MSIP_Label_67599526-06ca-49cc-9fa9-5307800a949a_Enabled">
    <vt:lpwstr>True</vt:lpwstr>
  </property>
  <property fmtid="{D5CDD505-2E9C-101B-9397-08002B2CF9AE}" pid="7" name="ComplianceAssetId">
    <vt:lpwstr/>
  </property>
  <property fmtid="{D5CDD505-2E9C-101B-9397-08002B2CF9AE}" pid="8" name="MSIP_Label_67599526-06ca-49cc-9fa9-5307800a949a_SetDate">
    <vt:lpwstr>2018-11-27T13:51:41.6573611Z</vt:lpwstr>
  </property>
  <property fmtid="{D5CDD505-2E9C-101B-9397-08002B2CF9AE}" pid="9" name="MSIP_Label_67599526-06ca-49cc-9fa9-5307800a949a_Application">
    <vt:lpwstr>Microsoft Azure Information Protection</vt:lpwstr>
  </property>
  <property fmtid="{D5CDD505-2E9C-101B-9397-08002B2CF9AE}" pid="10" name="MSIP_Label_67599526-06ca-49cc-9fa9-5307800a949a_SiteId">
    <vt:lpwstr>fabb61b8-3afe-4e75-b934-a47f782b8cd7</vt:lpwstr>
  </property>
  <property fmtid="{D5CDD505-2E9C-101B-9397-08002B2CF9AE}" pid="11" name="MSIP_Label_67599526-06ca-49cc-9fa9-5307800a949a_Owner">
    <vt:lpwstr>StubanasCM@aetna.com</vt:lpwstr>
  </property>
  <property fmtid="{D5CDD505-2E9C-101B-9397-08002B2CF9AE}" pid="12" name="UnilyDocumentCategory">
    <vt:lpwstr/>
  </property>
  <property fmtid="{D5CDD505-2E9C-101B-9397-08002B2CF9AE}" pid="13" name="MSIP_Label_67599526-06ca-49cc-9fa9-5307800a949a_Name">
    <vt:lpwstr>Proprietary</vt:lpwstr>
  </property>
</Properties>
</file>